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7527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79" d="100"/>
          <a:sy n="79" d="100"/>
        </p:scale>
        <p:origin x="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discriminanteBg.jpg" descr="discriminanteBg.jpg"/>
          <p:cNvPicPr>
            <a:picLocks noChangeAspect="1"/>
          </p:cNvPicPr>
          <p:nvPr/>
        </p:nvPicPr>
        <p:blipFill>
          <a:blip r:embed="rId2"/>
          <a:srcRect l="6960" r="6960"/>
          <a:stretch>
            <a:fillRect/>
          </a:stretch>
        </p:blipFill>
        <p:spPr>
          <a:xfrm>
            <a:off x="-30058" y="-46935"/>
            <a:ext cx="12222058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Rectangle 34"/>
          <p:cNvSpPr/>
          <p:nvPr/>
        </p:nvSpPr>
        <p:spPr>
          <a:xfrm rot="10800000" flipH="1">
            <a:off x="39029" y="6811067"/>
            <a:ext cx="12134654" cy="29846"/>
          </a:xfrm>
          <a:prstGeom prst="rect">
            <a:avLst/>
          </a:prstGeom>
          <a:ln w="88900">
            <a:solidFill>
              <a:srgbClr val="065752"/>
            </a:solidFill>
            <a:miter/>
          </a:ln>
        </p:spPr>
        <p:txBody>
          <a:bodyPr lIns="48763" tIns="48763" rIns="48763" bIns="48763" anchor="ctr"/>
          <a:lstStyle/>
          <a:p>
            <a:pPr algn="ctr" defTabSz="1300341">
              <a:buFont typeface="Arial"/>
              <a:defRPr sz="4200" b="1">
                <a:solidFill>
                  <a:srgbClr val="000000"/>
                </a:solidFill>
              </a:defRPr>
            </a:pPr>
            <a:endParaRPr sz="2953"/>
          </a:p>
        </p:txBody>
      </p:sp>
      <p:pic>
        <p:nvPicPr>
          <p:cNvPr id="7" name="Artboard 2logo-cover.png" descr="Artboard 2logo-cover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00046" y="478128"/>
            <a:ext cx="6961850" cy="521414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7084442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wo Content copy 1" userDrawn="1">
  <p:cSld name="Two Content copy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FF87B699-9253-D4E3-0E29-15F536C7EE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49897"/>
            <a:ext cx="12192196" cy="158973"/>
          </a:xfrm>
          <a:prstGeom prst="rect">
            <a:avLst/>
          </a:prstGeom>
        </p:spPr>
      </p:pic>
      <p:pic>
        <p:nvPicPr>
          <p:cNvPr id="6" name="Immagine 5" descr="Immagine che contiene clipart, cartone animato, illustrazione&#10;&#10;Descrizione generata automaticamente">
            <a:extLst>
              <a:ext uri="{FF2B5EF4-FFF2-40B4-BE49-F238E27FC236}">
                <a16:creationId xmlns:a16="http://schemas.microsoft.com/office/drawing/2014/main" id="{C2BF7DAD-C6E6-706B-CF86-8DE47C9642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711" y="6265495"/>
            <a:ext cx="527775" cy="52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097795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allax1Header.png" descr="parallax1Header.png"/>
          <p:cNvPicPr>
            <a:picLocks noChangeAspect="1"/>
          </p:cNvPicPr>
          <p:nvPr/>
        </p:nvPicPr>
        <p:blipFill>
          <a:blip r:embed="rId2">
            <a:alphaModFix amt="38413"/>
          </a:blip>
          <a:srcRect l="30902" t="37161"/>
          <a:stretch>
            <a:fillRect/>
          </a:stretch>
        </p:blipFill>
        <p:spPr>
          <a:xfrm>
            <a:off x="-33632" y="-16628"/>
            <a:ext cx="5127568" cy="1538228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Rectangle 34"/>
          <p:cNvSpPr/>
          <p:nvPr/>
        </p:nvSpPr>
        <p:spPr>
          <a:xfrm rot="10800000" flipH="1">
            <a:off x="39029" y="6811067"/>
            <a:ext cx="12134654" cy="29847"/>
          </a:xfrm>
          <a:prstGeom prst="rect">
            <a:avLst/>
          </a:prstGeom>
          <a:ln w="88900">
            <a:solidFill>
              <a:srgbClr val="FFC000"/>
            </a:solidFill>
            <a:miter/>
          </a:ln>
        </p:spPr>
        <p:txBody>
          <a:bodyPr lIns="65017" tIns="65017" rIns="65017" bIns="65017" anchor="ctr"/>
          <a:lstStyle/>
          <a:p>
            <a:pPr algn="ctr" defTabSz="1733786">
              <a:buFont typeface="Arial"/>
              <a:defRPr sz="4200" b="1">
                <a:solidFill>
                  <a:srgbClr val="000000"/>
                </a:solidFill>
              </a:defRPr>
            </a:pPr>
            <a:endParaRPr sz="3937"/>
          </a:p>
        </p:txBody>
      </p:sp>
      <p:pic>
        <p:nvPicPr>
          <p:cNvPr id="17" name="parallax1Header.png" descr="parallax1Header.png"/>
          <p:cNvPicPr>
            <a:picLocks noChangeAspect="1"/>
          </p:cNvPicPr>
          <p:nvPr/>
        </p:nvPicPr>
        <p:blipFill>
          <a:blip r:embed="rId2">
            <a:alphaModFix amt="38413"/>
          </a:blip>
          <a:srcRect l="31312" t="37066"/>
          <a:stretch>
            <a:fillRect/>
          </a:stretch>
        </p:blipFill>
        <p:spPr>
          <a:xfrm flipH="1">
            <a:off x="7118778" y="-18930"/>
            <a:ext cx="5097151" cy="1540530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0EF36963-B379-402D-9C36-97AEF386C75D}"/>
              </a:ext>
            </a:extLst>
          </p:cNvPr>
          <p:cNvSpPr/>
          <p:nvPr userDrawn="1"/>
        </p:nvSpPr>
        <p:spPr>
          <a:xfrm>
            <a:off x="-55984" y="0"/>
            <a:ext cx="12303968" cy="69046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09452450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09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6665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75">
          <p15:clr>
            <a:srgbClr val="FBAE40"/>
          </p15:clr>
        </p15:guide>
        <p15:guide id="2" pos="1079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Title Slid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4"/>
          <p:cNvSpPr/>
          <p:nvPr/>
        </p:nvSpPr>
        <p:spPr>
          <a:xfrm rot="10800000" flipH="1">
            <a:off x="39029" y="6811067"/>
            <a:ext cx="12134654" cy="29846"/>
          </a:xfrm>
          <a:prstGeom prst="rect">
            <a:avLst/>
          </a:prstGeom>
          <a:ln w="88900">
            <a:solidFill>
              <a:srgbClr val="065752"/>
            </a:solidFill>
            <a:miter/>
          </a:ln>
        </p:spPr>
        <p:txBody>
          <a:bodyPr lIns="48763" tIns="48763" rIns="48763" bIns="48763" anchor="ctr"/>
          <a:lstStyle/>
          <a:p>
            <a:pPr algn="ctr" defTabSz="1300341">
              <a:buFont typeface="Arial"/>
              <a:defRPr sz="4200" b="1">
                <a:solidFill>
                  <a:srgbClr val="000000"/>
                </a:solidFill>
              </a:defRPr>
            </a:pPr>
            <a:endParaRPr sz="2953"/>
          </a:p>
        </p:txBody>
      </p:sp>
      <p:pic>
        <p:nvPicPr>
          <p:cNvPr id="7" name="Artboard 2logo-cover.png" descr="Artboard 2logo-cov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00046" y="478128"/>
            <a:ext cx="6961850" cy="5214146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55053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06400" y="1414482"/>
            <a:ext cx="6907362" cy="4029037"/>
          </a:xfrm>
          <a:prstGeom prst="rect">
            <a:avLst/>
          </a:prstGeom>
        </p:spPr>
        <p:txBody>
          <a:bodyPr>
            <a:normAutofit/>
          </a:bodyPr>
          <a:lstStyle>
            <a:lvl1pPr marL="308042" indent="-308042">
              <a:spcBef>
                <a:spcPts val="914"/>
              </a:spcBef>
              <a:defRPr sz="1617">
                <a:solidFill>
                  <a:srgbClr val="005350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620919" indent="-299485">
              <a:spcBef>
                <a:spcPts val="914"/>
              </a:spcBef>
              <a:defRPr sz="1617">
                <a:solidFill>
                  <a:srgbClr val="005350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930374" indent="-287505">
              <a:spcBef>
                <a:spcPts val="914"/>
              </a:spcBef>
              <a:defRPr sz="1617">
                <a:solidFill>
                  <a:srgbClr val="005350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1283753" indent="-319450">
              <a:spcBef>
                <a:spcPts val="914"/>
              </a:spcBef>
              <a:defRPr sz="1617">
                <a:solidFill>
                  <a:srgbClr val="005350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1605188" indent="-319450">
              <a:spcBef>
                <a:spcPts val="914"/>
              </a:spcBef>
              <a:defRPr sz="1617">
                <a:solidFill>
                  <a:srgbClr val="005350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" name="Rectangle 34"/>
          <p:cNvSpPr/>
          <p:nvPr userDrawn="1"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16" name="Rectangle 40"/>
          <p:cNvSpPr/>
          <p:nvPr userDrawn="1"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0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pic>
        <p:nvPicPr>
          <p:cNvPr id="17" name="Picture 10" descr="Picture 10"/>
          <p:cNvPicPr>
            <a:picLocks noChangeAspect="1"/>
          </p:cNvPicPr>
          <p:nvPr userDrawn="1"/>
        </p:nvPicPr>
        <p:blipFill>
          <a:blip r:embed="rId2"/>
          <a:srcRect b="32712"/>
          <a:stretch>
            <a:fillRect/>
          </a:stretch>
        </p:blipFill>
        <p:spPr>
          <a:xfrm>
            <a:off x="10421952" y="6078612"/>
            <a:ext cx="1381880" cy="619441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itle Text"/>
          <p:cNvSpPr txBox="1">
            <a:spLocks noGrp="1"/>
          </p:cNvSpPr>
          <p:nvPr>
            <p:ph type="title"/>
          </p:nvPr>
        </p:nvSpPr>
        <p:spPr>
          <a:xfrm>
            <a:off x="809886" y="234002"/>
            <a:ext cx="8331201" cy="5334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94" b="0" spc="0">
                <a:latin typeface="+mn-lt"/>
              </a:defRPr>
            </a:lvl1pPr>
          </a:lstStyle>
          <a:p>
            <a:r>
              <a:t>Title Text</a:t>
            </a:r>
          </a:p>
        </p:txBody>
      </p:sp>
      <p:sp>
        <p:nvSpPr>
          <p:cNvPr id="19" name="Slide Number"/>
          <p:cNvSpPr txBox="1">
            <a:spLocks/>
          </p:cNvSpPr>
          <p:nvPr userDrawn="1"/>
        </p:nvSpPr>
        <p:spPr>
          <a:xfrm>
            <a:off x="11897892" y="6470504"/>
            <a:ext cx="225324" cy="211458"/>
          </a:xfrm>
          <a:prstGeom prst="rect">
            <a:avLst/>
          </a:prstGeom>
          <a:ln w="12700">
            <a:miter lim="400000"/>
          </a:ln>
        </p:spPr>
        <p:txBody>
          <a:bodyPr wrap="square" lIns="45715" tIns="45715" rIns="45715" bIns="45715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GB" sz="774" b="1" smtClean="0">
                <a:solidFill>
                  <a:srgbClr val="005350"/>
                </a:solidFill>
              </a:rPr>
              <a:pPr/>
              <a:t>‹#›</a:t>
            </a:fld>
            <a:endParaRPr lang="en-GB" sz="774" b="1">
              <a:solidFill>
                <a:srgbClr val="005350"/>
              </a:solidFill>
            </a:endParaRPr>
          </a:p>
        </p:txBody>
      </p:sp>
      <p:pic>
        <p:nvPicPr>
          <p:cNvPr id="11" name="footerAlbero.png" descr="footerAlbero.png"/>
          <p:cNvPicPr>
            <a:picLocks noChangeAspect="1"/>
          </p:cNvPicPr>
          <p:nvPr userDrawn="1"/>
        </p:nvPicPr>
        <p:blipFill>
          <a:blip r:embed="rId3">
            <a:alphaModFix amt="7855"/>
          </a:blip>
          <a:stretch>
            <a:fillRect/>
          </a:stretch>
        </p:blipFill>
        <p:spPr>
          <a:xfrm>
            <a:off x="2782640" y="1751263"/>
            <a:ext cx="6626720" cy="519901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7032634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58335" y="2427062"/>
            <a:ext cx="10363201" cy="150018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SzTx/>
              <a:buNone/>
              <a:defRPr sz="1688">
                <a:solidFill>
                  <a:srgbClr val="006666"/>
                </a:solidFill>
              </a:defRPr>
            </a:lvl1pPr>
            <a:lvl2pPr marL="0" indent="321435">
              <a:buSzTx/>
              <a:buNone/>
              <a:defRPr sz="1688">
                <a:solidFill>
                  <a:srgbClr val="006666"/>
                </a:solidFill>
              </a:defRPr>
            </a:lvl2pPr>
            <a:lvl3pPr marL="0" indent="642869">
              <a:buSzTx/>
              <a:buNone/>
              <a:defRPr sz="1688">
                <a:solidFill>
                  <a:srgbClr val="006666"/>
                </a:solidFill>
              </a:defRPr>
            </a:lvl3pPr>
            <a:lvl4pPr marL="0" indent="964304">
              <a:buSzTx/>
              <a:buNone/>
              <a:defRPr sz="1688">
                <a:solidFill>
                  <a:srgbClr val="006666"/>
                </a:solidFill>
              </a:defRPr>
            </a:lvl4pPr>
            <a:lvl5pPr marL="0" indent="1285738">
              <a:buSzTx/>
              <a:buNone/>
              <a:defRPr sz="1688">
                <a:solidFill>
                  <a:srgbClr val="006666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" name="Rectangle 34"/>
          <p:cNvSpPr/>
          <p:nvPr userDrawn="1"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9" name="Rectangle 40"/>
          <p:cNvSpPr/>
          <p:nvPr userDrawn="1"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0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pic>
        <p:nvPicPr>
          <p:cNvPr id="10" name="Picture 10" descr="Picture 10"/>
          <p:cNvPicPr>
            <a:picLocks noChangeAspect="1"/>
          </p:cNvPicPr>
          <p:nvPr userDrawn="1"/>
        </p:nvPicPr>
        <p:blipFill>
          <a:blip r:embed="rId2"/>
          <a:srcRect b="32712"/>
          <a:stretch>
            <a:fillRect/>
          </a:stretch>
        </p:blipFill>
        <p:spPr>
          <a:xfrm>
            <a:off x="10421952" y="6078612"/>
            <a:ext cx="1381880" cy="619441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809886" y="234002"/>
            <a:ext cx="8331201" cy="5334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94" b="0" spc="0">
                <a:latin typeface="+mn-lt"/>
              </a:defRPr>
            </a:lvl1pPr>
          </a:lstStyle>
          <a:p>
            <a:r>
              <a:t>Title Text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>
          <a:xfrm>
            <a:off x="11897892" y="6470504"/>
            <a:ext cx="225324" cy="211458"/>
          </a:xfrm>
          <a:prstGeom prst="rect">
            <a:avLst/>
          </a:prstGeom>
          <a:ln w="12700">
            <a:miter lim="400000"/>
          </a:ln>
        </p:spPr>
        <p:txBody>
          <a:bodyPr wrap="square" lIns="45715" tIns="45715" rIns="45715" bIns="45715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GB" sz="774" b="1" smtClean="0">
                <a:solidFill>
                  <a:srgbClr val="005350"/>
                </a:solidFill>
              </a:rPr>
              <a:pPr/>
              <a:t>‹#›</a:t>
            </a:fld>
            <a:endParaRPr lang="en-GB" sz="774" b="1">
              <a:solidFill>
                <a:srgbClr val="0053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568644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 34"/>
          <p:cNvSpPr/>
          <p:nvPr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18" name="Rectangle 40"/>
          <p:cNvSpPr/>
          <p:nvPr userDrawn="1"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0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19" name="Title Text"/>
          <p:cNvSpPr txBox="1">
            <a:spLocks noGrp="1"/>
          </p:cNvSpPr>
          <p:nvPr>
            <p:ph type="title"/>
          </p:nvPr>
        </p:nvSpPr>
        <p:spPr>
          <a:xfrm>
            <a:off x="809886" y="234002"/>
            <a:ext cx="8331201" cy="5334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31" b="1" i="0" u="none" strike="noStrike" cap="all" spc="0" baseline="0" dirty="0">
                <a:ln>
                  <a:noFill/>
                </a:ln>
                <a:solidFill>
                  <a:srgbClr val="065752"/>
                </a:solidFill>
                <a:uFillTx/>
                <a:latin typeface="+mn-lt"/>
                <a:ea typeface="Yu Gothic UI" pitchFamily="34" charset="-128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pic>
        <p:nvPicPr>
          <p:cNvPr id="3" name="Picture 2" descr="A green and white sign with white letters&#10;&#10;Description automatically generated">
            <a:extLst>
              <a:ext uri="{FF2B5EF4-FFF2-40B4-BE49-F238E27FC236}">
                <a16:creationId xmlns:a16="http://schemas.microsoft.com/office/drawing/2014/main" id="{23B5AE20-551C-88AB-F0DE-05D0F3EF2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9816" y="6261412"/>
            <a:ext cx="1315910" cy="34627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AB19E10-CD89-9D90-7577-0C6FF4032738}"/>
              </a:ext>
            </a:extLst>
          </p:cNvPr>
          <p:cNvSpPr/>
          <p:nvPr userDrawn="1"/>
        </p:nvSpPr>
        <p:spPr>
          <a:xfrm>
            <a:off x="8762732" y="3369865"/>
            <a:ext cx="4562709" cy="352074"/>
          </a:xfrm>
          <a:prstGeom prst="rect">
            <a:avLst/>
          </a:prstGeom>
          <a:blipFill dpi="0" rotWithShape="1">
            <a:blip r:embed="rId3">
              <a:alphaModFix amt="9000"/>
            </a:blip>
            <a:srcRect/>
            <a:stretch>
              <a:fillRect/>
            </a:stretch>
          </a:blip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5" tIns="45715" rIns="45715" bIns="45715" numCol="1" spcCol="38100" rtlCol="0" anchor="ctr">
            <a:spAutoFit/>
          </a:bodyPr>
          <a:lstStyle/>
          <a:p>
            <a:pPr marL="0" marR="0" indent="0" algn="l" defTabSz="91430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88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20916210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4"/>
          <p:cNvSpPr/>
          <p:nvPr userDrawn="1"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11" name="Rectangle 40"/>
          <p:cNvSpPr/>
          <p:nvPr userDrawn="1"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0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rcRect b="32712"/>
          <a:stretch>
            <a:fillRect/>
          </a:stretch>
        </p:blipFill>
        <p:spPr>
          <a:xfrm>
            <a:off x="10421952" y="6078612"/>
            <a:ext cx="1381880" cy="619441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itle Text"/>
          <p:cNvSpPr txBox="1">
            <a:spLocks noGrp="1"/>
          </p:cNvSpPr>
          <p:nvPr>
            <p:ph type="title"/>
          </p:nvPr>
        </p:nvSpPr>
        <p:spPr>
          <a:xfrm>
            <a:off x="809886" y="234002"/>
            <a:ext cx="8331201" cy="5334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94" b="0" spc="0">
                <a:latin typeface="+mn-lt"/>
              </a:defRPr>
            </a:lvl1pPr>
          </a:lstStyle>
          <a:p>
            <a:r>
              <a:t>Title Text</a:t>
            </a:r>
          </a:p>
        </p:txBody>
      </p:sp>
      <p:sp>
        <p:nvSpPr>
          <p:cNvPr id="14" name="Slide Number"/>
          <p:cNvSpPr txBox="1">
            <a:spLocks/>
          </p:cNvSpPr>
          <p:nvPr userDrawn="1"/>
        </p:nvSpPr>
        <p:spPr>
          <a:xfrm>
            <a:off x="11897892" y="6470504"/>
            <a:ext cx="225324" cy="211458"/>
          </a:xfrm>
          <a:prstGeom prst="rect">
            <a:avLst/>
          </a:prstGeom>
          <a:ln w="12700">
            <a:miter lim="400000"/>
          </a:ln>
        </p:spPr>
        <p:txBody>
          <a:bodyPr wrap="square" lIns="45715" tIns="45715" rIns="45715" bIns="45715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GB" sz="774" b="1" smtClean="0">
                <a:solidFill>
                  <a:srgbClr val="005350"/>
                </a:solidFill>
              </a:rPr>
              <a:pPr/>
              <a:t>‹#›</a:t>
            </a:fld>
            <a:endParaRPr lang="en-GB" sz="774" b="1">
              <a:solidFill>
                <a:srgbClr val="005350"/>
              </a:solidFill>
            </a:endParaRPr>
          </a:p>
        </p:txBody>
      </p:sp>
      <p:pic>
        <p:nvPicPr>
          <p:cNvPr id="7" name="Immagine 7" descr="Pallini Final on White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020788" y="3644864"/>
            <a:ext cx="2102428" cy="2374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50072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Body Level One…"/>
          <p:cNvSpPr txBox="1">
            <a:spLocks noGrp="1"/>
          </p:cNvSpPr>
          <p:nvPr>
            <p:ph type="body" idx="1"/>
          </p:nvPr>
        </p:nvSpPr>
        <p:spPr>
          <a:xfrm>
            <a:off x="809886" y="1343685"/>
            <a:ext cx="6815668" cy="4157003"/>
          </a:xfrm>
          <a:prstGeom prst="rect">
            <a:avLst/>
          </a:prstGeom>
        </p:spPr>
        <p:txBody>
          <a:bodyPr>
            <a:normAutofit/>
          </a:bodyPr>
          <a:lstStyle>
            <a:lvl1pPr marL="331479" indent="-331479">
              <a:spcBef>
                <a:spcPts val="703"/>
              </a:spcBef>
              <a:defRPr sz="1688">
                <a:solidFill>
                  <a:srgbClr val="006666"/>
                </a:solidFill>
              </a:defRPr>
            </a:lvl1pPr>
            <a:lvl2pPr marL="637129" indent="-315694">
              <a:spcBef>
                <a:spcPts val="703"/>
              </a:spcBef>
              <a:defRPr sz="1688">
                <a:solidFill>
                  <a:srgbClr val="006666"/>
                </a:solidFill>
              </a:defRPr>
            </a:lvl2pPr>
            <a:lvl3pPr marL="937517" indent="-294649">
              <a:spcBef>
                <a:spcPts val="703"/>
              </a:spcBef>
              <a:defRPr sz="1688">
                <a:solidFill>
                  <a:srgbClr val="006666"/>
                </a:solidFill>
              </a:defRPr>
            </a:lvl3pPr>
            <a:lvl4pPr marL="1317882" indent="-353578">
              <a:spcBef>
                <a:spcPts val="703"/>
              </a:spcBef>
              <a:defRPr sz="1688">
                <a:solidFill>
                  <a:srgbClr val="006666"/>
                </a:solidFill>
              </a:defRPr>
            </a:lvl4pPr>
            <a:lvl5pPr marL="1639316" indent="-353578">
              <a:spcBef>
                <a:spcPts val="703"/>
              </a:spcBef>
              <a:defRPr sz="1688">
                <a:solidFill>
                  <a:srgbClr val="006666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" name="Rectangle 34"/>
          <p:cNvSpPr/>
          <p:nvPr userDrawn="1"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10" name="Rectangle 40"/>
          <p:cNvSpPr/>
          <p:nvPr userDrawn="1"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0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pic>
        <p:nvPicPr>
          <p:cNvPr id="11" name="Picture 10" descr="Picture 10"/>
          <p:cNvPicPr>
            <a:picLocks noChangeAspect="1"/>
          </p:cNvPicPr>
          <p:nvPr userDrawn="1"/>
        </p:nvPicPr>
        <p:blipFill>
          <a:blip r:embed="rId2"/>
          <a:srcRect b="32712"/>
          <a:stretch>
            <a:fillRect/>
          </a:stretch>
        </p:blipFill>
        <p:spPr>
          <a:xfrm>
            <a:off x="10421952" y="6078612"/>
            <a:ext cx="1381880" cy="619441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Text"/>
          <p:cNvSpPr txBox="1">
            <a:spLocks noGrp="1"/>
          </p:cNvSpPr>
          <p:nvPr>
            <p:ph type="title"/>
          </p:nvPr>
        </p:nvSpPr>
        <p:spPr>
          <a:xfrm>
            <a:off x="809886" y="234002"/>
            <a:ext cx="8331201" cy="5334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94" b="0" spc="0">
                <a:latin typeface="+mn-lt"/>
              </a:defRPr>
            </a:lvl1pPr>
          </a:lstStyle>
          <a:p>
            <a:r>
              <a:t>Title Text</a:t>
            </a:r>
          </a:p>
        </p:txBody>
      </p:sp>
      <p:sp>
        <p:nvSpPr>
          <p:cNvPr id="13" name="Slide Number"/>
          <p:cNvSpPr txBox="1">
            <a:spLocks/>
          </p:cNvSpPr>
          <p:nvPr userDrawn="1"/>
        </p:nvSpPr>
        <p:spPr>
          <a:xfrm>
            <a:off x="11897892" y="6470504"/>
            <a:ext cx="225324" cy="211458"/>
          </a:xfrm>
          <a:prstGeom prst="rect">
            <a:avLst/>
          </a:prstGeom>
          <a:ln w="12700">
            <a:miter lim="400000"/>
          </a:ln>
        </p:spPr>
        <p:txBody>
          <a:bodyPr wrap="square" lIns="45715" tIns="45715" rIns="45715" bIns="45715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GB" sz="774" b="1" smtClean="0">
                <a:solidFill>
                  <a:srgbClr val="005350"/>
                </a:solidFill>
              </a:rPr>
              <a:pPr/>
              <a:t>‹#›</a:t>
            </a:fld>
            <a:endParaRPr lang="en-GB" sz="774" b="1">
              <a:solidFill>
                <a:srgbClr val="0053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4866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2438400" y="1252538"/>
            <a:ext cx="7315202" cy="3135767"/>
          </a:xfrm>
          <a:prstGeom prst="rect">
            <a:avLst/>
          </a:prstGeom>
          <a:ln w="28575">
            <a:solidFill>
              <a:srgbClr val="FEFB6B"/>
            </a:solidFill>
          </a:ln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9" name="Rectangle 34"/>
          <p:cNvSpPr/>
          <p:nvPr userDrawn="1"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10" name="Rectangle 40"/>
          <p:cNvSpPr/>
          <p:nvPr userDrawn="1"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0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pic>
        <p:nvPicPr>
          <p:cNvPr id="11" name="Picture 10" descr="Picture 10"/>
          <p:cNvPicPr>
            <a:picLocks noChangeAspect="1"/>
          </p:cNvPicPr>
          <p:nvPr userDrawn="1"/>
        </p:nvPicPr>
        <p:blipFill>
          <a:blip r:embed="rId2"/>
          <a:srcRect b="32712"/>
          <a:stretch>
            <a:fillRect/>
          </a:stretch>
        </p:blipFill>
        <p:spPr>
          <a:xfrm>
            <a:off x="10421952" y="6078612"/>
            <a:ext cx="1381880" cy="619441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Text"/>
          <p:cNvSpPr txBox="1">
            <a:spLocks/>
          </p:cNvSpPr>
          <p:nvPr userDrawn="1"/>
        </p:nvSpPr>
        <p:spPr>
          <a:xfrm>
            <a:off x="809886" y="234002"/>
            <a:ext cx="8331201" cy="533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5" tIns="45715" rIns="45715" bIns="45715" anchor="ctr">
            <a:noAutofit/>
          </a:bodyPr>
          <a:lstStyle>
            <a:lvl1pPr marL="0" marR="0" indent="0" algn="l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0" baseline="0">
                <a:ln>
                  <a:noFill/>
                </a:ln>
                <a:solidFill>
                  <a:srgbClr val="005350"/>
                </a:solidFill>
                <a:uFillTx/>
                <a:latin typeface="+mn-lt"/>
                <a:ea typeface="Yu Gothic UI" pitchFamily="34" charset="-128"/>
                <a:cs typeface="+mn-cs"/>
                <a:sym typeface="Calibri"/>
              </a:defRPr>
            </a:lvl1pPr>
            <a:lvl2pPr marL="0" marR="0" indent="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45720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91440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137160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1828800" algn="ctr" defTabSz="130048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r>
              <a:rPr lang="en-GB" sz="3094"/>
              <a:t>Title Text</a:t>
            </a:r>
          </a:p>
        </p:txBody>
      </p:sp>
      <p:sp>
        <p:nvSpPr>
          <p:cNvPr id="13" name="Slide Number"/>
          <p:cNvSpPr txBox="1">
            <a:spLocks/>
          </p:cNvSpPr>
          <p:nvPr userDrawn="1"/>
        </p:nvSpPr>
        <p:spPr>
          <a:xfrm>
            <a:off x="11897892" y="6470504"/>
            <a:ext cx="225324" cy="211458"/>
          </a:xfrm>
          <a:prstGeom prst="rect">
            <a:avLst/>
          </a:prstGeom>
          <a:ln w="12700">
            <a:miter lim="400000"/>
          </a:ln>
        </p:spPr>
        <p:txBody>
          <a:bodyPr wrap="square" lIns="45715" tIns="45715" rIns="45715" bIns="45715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130048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4">
                    <a:lumOff val="-88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GB" sz="774" b="1" smtClean="0">
                <a:solidFill>
                  <a:srgbClr val="005350"/>
                </a:solidFill>
              </a:rPr>
              <a:pPr/>
              <a:t>‹#›</a:t>
            </a:fld>
            <a:endParaRPr lang="en-GB" sz="774" b="1">
              <a:solidFill>
                <a:srgbClr val="00535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396352" y="5372804"/>
            <a:ext cx="7399293" cy="35207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solidFill>
              <a:srgbClr val="00535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5" tIns="45715" rIns="45715" bIns="45715" numCol="1" spcCol="38100" rtlCol="0" anchor="ctr">
            <a:spAutoFit/>
          </a:bodyPr>
          <a:lstStyle/>
          <a:p>
            <a:pPr marL="0" marR="0" indent="0" algn="l" defTabSz="91430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88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65967" y="4887898"/>
            <a:ext cx="7315202" cy="804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281"/>
              </a:spcBef>
              <a:buSzTx/>
              <a:buNone/>
              <a:defRPr sz="1406">
                <a:solidFill>
                  <a:srgbClr val="006666"/>
                </a:solidFill>
              </a:defRPr>
            </a:lvl1pPr>
            <a:lvl2pPr marL="0" indent="321435">
              <a:spcBef>
                <a:spcPts val="281"/>
              </a:spcBef>
              <a:buSzTx/>
              <a:buNone/>
              <a:defRPr sz="1406">
                <a:solidFill>
                  <a:srgbClr val="006666"/>
                </a:solidFill>
              </a:defRPr>
            </a:lvl2pPr>
            <a:lvl3pPr marL="0" indent="642869">
              <a:spcBef>
                <a:spcPts val="281"/>
              </a:spcBef>
              <a:buSzTx/>
              <a:buNone/>
              <a:defRPr sz="1406">
                <a:solidFill>
                  <a:srgbClr val="006666"/>
                </a:solidFill>
              </a:defRPr>
            </a:lvl3pPr>
            <a:lvl4pPr marL="0" indent="964304">
              <a:spcBef>
                <a:spcPts val="281"/>
              </a:spcBef>
              <a:buSzTx/>
              <a:buNone/>
              <a:defRPr sz="1406">
                <a:solidFill>
                  <a:srgbClr val="006666"/>
                </a:solidFill>
              </a:defRPr>
            </a:lvl4pPr>
            <a:lvl5pPr marL="0" indent="1285738">
              <a:spcBef>
                <a:spcPts val="281"/>
              </a:spcBef>
              <a:buSzTx/>
              <a:buNone/>
              <a:defRPr sz="1406">
                <a:solidFill>
                  <a:srgbClr val="006666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99610478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Body Level One…"/>
          <p:cNvSpPr txBox="1">
            <a:spLocks noGrp="1"/>
          </p:cNvSpPr>
          <p:nvPr>
            <p:ph type="body" idx="1"/>
          </p:nvPr>
        </p:nvSpPr>
        <p:spPr>
          <a:xfrm>
            <a:off x="914400" y="1295400"/>
            <a:ext cx="10363201" cy="472440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" name="Rectangle 34"/>
          <p:cNvSpPr/>
          <p:nvPr userDrawn="1"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9" name="Rectangle 40"/>
          <p:cNvSpPr/>
          <p:nvPr userDrawn="1"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000"/>
          </a:solidFill>
          <a:ln w="12700">
            <a:solidFill>
              <a:srgbClr val="FFF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809886" y="234002"/>
            <a:ext cx="8331201" cy="5334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31" b="1" i="0" u="none" strike="noStrike" cap="all" spc="0" baseline="0" dirty="0">
                <a:ln>
                  <a:noFill/>
                </a:ln>
                <a:solidFill>
                  <a:srgbClr val="065752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pic>
        <p:nvPicPr>
          <p:cNvPr id="13" name="2012 Pallini Limoncello Logo No Crest.png" descr="2012 Pallini Limoncello Logo No Crest.png">
            <a:extLst>
              <a:ext uri="{FF2B5EF4-FFF2-40B4-BE49-F238E27FC236}">
                <a16:creationId xmlns:a16="http://schemas.microsoft.com/office/drawing/2014/main" id="{06337ACA-5616-466F-8C68-69187326AE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44110"/>
          <a:stretch>
            <a:fillRect/>
          </a:stretch>
        </p:blipFill>
        <p:spPr>
          <a:xfrm>
            <a:off x="10665395" y="6175512"/>
            <a:ext cx="1345160" cy="40072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6604468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 rot="10800000" flipH="1">
            <a:off x="-1" y="6756400"/>
            <a:ext cx="12192001" cy="12701"/>
          </a:xfrm>
          <a:prstGeom prst="rect">
            <a:avLst/>
          </a:prstGeom>
          <a:solidFill>
            <a:srgbClr val="FFFF00"/>
          </a:solidFill>
          <a:ln w="12700">
            <a:solidFill>
              <a:srgbClr val="FFC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sp>
        <p:nvSpPr>
          <p:cNvPr id="4" name="Rectangle 40"/>
          <p:cNvSpPr/>
          <p:nvPr/>
        </p:nvSpPr>
        <p:spPr>
          <a:xfrm>
            <a:off x="-1" y="984775"/>
            <a:ext cx="12192001" cy="24131"/>
          </a:xfrm>
          <a:prstGeom prst="rect">
            <a:avLst/>
          </a:prstGeom>
          <a:solidFill>
            <a:srgbClr val="FFFF00"/>
          </a:solidFill>
          <a:ln w="12700">
            <a:solidFill>
              <a:srgbClr val="FFC000"/>
            </a:solidFill>
            <a:miter/>
          </a:ln>
        </p:spPr>
        <p:txBody>
          <a:bodyPr lIns="45715" tIns="45715" rIns="45715" bIns="45715" anchor="ctr"/>
          <a:lstStyle/>
          <a:p>
            <a:pPr algn="ctr">
              <a:defRPr sz="3000" b="1">
                <a:solidFill>
                  <a:srgbClr val="000000"/>
                </a:solidFill>
              </a:defRPr>
            </a:pPr>
            <a:endParaRPr sz="2109"/>
          </a:p>
        </p:txBody>
      </p:sp>
      <p:pic>
        <p:nvPicPr>
          <p:cNvPr id="5" name="Picture 10" descr="Picture 10"/>
          <p:cNvPicPr>
            <a:picLocks noChangeAspect="1"/>
          </p:cNvPicPr>
          <p:nvPr/>
        </p:nvPicPr>
        <p:blipFill>
          <a:blip r:embed="rId14"/>
          <a:srcRect b="32712"/>
          <a:stretch>
            <a:fillRect/>
          </a:stretch>
        </p:blipFill>
        <p:spPr>
          <a:xfrm>
            <a:off x="10621040" y="5919969"/>
            <a:ext cx="1381880" cy="619441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Text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2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5023" tIns="65023" rIns="65023" bIns="65023" anchor="ctr"/>
          <a:lstStyle/>
          <a:p>
            <a:r>
              <a:rPr lang="en-GB"/>
              <a:t>TITLE TEXT</a:t>
            </a:r>
            <a:endParaRPr/>
          </a:p>
        </p:txBody>
      </p:sp>
      <p:sp>
        <p:nvSpPr>
          <p:cNvPr id="7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2" cy="5257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5023" tIns="65023" rIns="65023" bIns="65023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54798" y="5875195"/>
            <a:ext cx="282804" cy="962313"/>
          </a:xfrm>
          <a:prstGeom prst="rect">
            <a:avLst/>
          </a:prstGeom>
          <a:ln w="12700">
            <a:miter lim="400000"/>
          </a:ln>
        </p:spPr>
        <p:txBody>
          <a:bodyPr wrap="square" lIns="65023" tIns="65023" rIns="65023" bIns="65023" anchor="ctr">
            <a:spAutoFit/>
          </a:bodyPr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4829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 spd="med"/>
  <p:txStyles>
    <p:titleStyle>
      <a:lvl1pPr marL="0" marR="0" indent="0" algn="l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-75" baseline="0">
          <a:ln>
            <a:noFill/>
          </a:ln>
          <a:solidFill>
            <a:srgbClr val="005350"/>
          </a:solidFill>
          <a:uFillTx/>
          <a:latin typeface="Yu Gothic UI" pitchFamily="34" charset="-128"/>
          <a:ea typeface="Yu Gothic UI" pitchFamily="34" charset="-128"/>
          <a:cs typeface="+mn-cs"/>
          <a:sym typeface="Calibri"/>
        </a:defRPr>
      </a:lvl1pPr>
      <a:lvl2pPr marL="0" marR="0" indent="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45720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68580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914400" algn="ct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240030" marR="0" indent="-24003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80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450850" marR="0" indent="-22225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–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657225" marR="0" indent="-200025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914400" marR="0" indent="-22860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–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1181100" marR="0" indent="-26670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1409700" marR="0" indent="-26670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1638300" marR="0" indent="-26670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1866900" marR="0" indent="-26670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2095500" marR="0" indent="-266700" algn="l" defTabSz="650240" rtl="0" latinLnBrk="0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Tx/>
        <a:buChar char="»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286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4572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6858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9144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1430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3716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6002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828800" algn="r" defTabSz="65024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6A3DE6-7743-04FA-95C5-0C4E2940B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Chevron 1">
            <a:extLst>
              <a:ext uri="{FF2B5EF4-FFF2-40B4-BE49-F238E27FC236}">
                <a16:creationId xmlns:a16="http://schemas.microsoft.com/office/drawing/2014/main" id="{84D2E0CD-0668-52A5-E697-3F0A8E21ABB1}"/>
              </a:ext>
            </a:extLst>
          </p:cNvPr>
          <p:cNvSpPr/>
          <p:nvPr/>
        </p:nvSpPr>
        <p:spPr>
          <a:xfrm>
            <a:off x="339645" y="228293"/>
            <a:ext cx="3207400" cy="910379"/>
          </a:xfrm>
          <a:prstGeom prst="chevron">
            <a:avLst/>
          </a:prstGeom>
          <a:solidFill>
            <a:srgbClr val="0000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>
              <a:defRPr/>
            </a:pPr>
            <a:endParaRPr lang="en-US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EF0E75-DA4B-97AD-6F45-7BCAB7E084F5}"/>
              </a:ext>
            </a:extLst>
          </p:cNvPr>
          <p:cNvSpPr txBox="1"/>
          <p:nvPr/>
        </p:nvSpPr>
        <p:spPr>
          <a:xfrm>
            <a:off x="571170" y="199641"/>
            <a:ext cx="2783140" cy="1708160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spAutoFit/>
          </a:bodyPr>
          <a:lstStyle/>
          <a:p>
            <a:pPr algn="ctr" defTabSz="457177">
              <a:defRPr/>
            </a:pPr>
            <a:r>
              <a:rPr lang="en-US" sz="3000" b="1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TRIAL</a:t>
            </a:r>
            <a:endParaRPr lang="en-US" sz="2400" b="1">
              <a:solidFill>
                <a:srgbClr val="FFFFFF"/>
              </a:solidFill>
              <a:latin typeface="Aptos"/>
              <a:ea typeface="Calibri"/>
              <a:cs typeface="Calibri"/>
            </a:endParaRPr>
          </a:p>
          <a:p>
            <a:pPr algn="ctr" defTabSz="457177">
              <a:defRPr/>
            </a:pPr>
            <a:r>
              <a:rPr lang="en-US" sz="2400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ON PREMISE</a:t>
            </a:r>
          </a:p>
          <a:p>
            <a:pPr marL="285750" indent="-285750" algn="ctr" defTabSz="457177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  <a:p>
            <a:pPr marL="285750" indent="-285750" algn="ctr" defTabSz="457177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23FA4F-5AC8-8C3E-CEEE-0D46A3529C9A}"/>
              </a:ext>
            </a:extLst>
          </p:cNvPr>
          <p:cNvSpPr txBox="1"/>
          <p:nvPr/>
        </p:nvSpPr>
        <p:spPr>
          <a:xfrm>
            <a:off x="4177057" y="111782"/>
            <a:ext cx="476098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77">
              <a:defRPr/>
            </a:pPr>
            <a:r>
              <a:rPr lang="en-US" sz="4400">
                <a:solidFill>
                  <a:srgbClr val="0C0D32"/>
                </a:solidFill>
                <a:latin typeface="Ivar-Display-Condensed-Light"/>
              </a:rPr>
              <a:t>TARGET ACCOUNT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CA24E5-DD4B-FEEF-D55F-0007DB8EB75C}"/>
              </a:ext>
            </a:extLst>
          </p:cNvPr>
          <p:cNvSpPr txBox="1"/>
          <p:nvPr/>
        </p:nvSpPr>
        <p:spPr>
          <a:xfrm>
            <a:off x="571170" y="1133495"/>
            <a:ext cx="60533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mium Italian Restaurants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134874-4A91-1A39-2C40-A28CDF11EADD}"/>
              </a:ext>
            </a:extLst>
          </p:cNvPr>
          <p:cNvSpPr txBox="1"/>
          <p:nvPr/>
        </p:nvSpPr>
        <p:spPr>
          <a:xfrm>
            <a:off x="5986238" y="3968551"/>
            <a:ext cx="50877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runch Spots</a:t>
            </a:r>
            <a:endParaRPr lang="en-US" kern="100">
              <a:solidFill>
                <a:srgbClr val="000032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5653D7A-566D-8D98-AAF5-B58829B764AA}"/>
              </a:ext>
            </a:extLst>
          </p:cNvPr>
          <p:cNvSpPr txBox="1"/>
          <p:nvPr/>
        </p:nvSpPr>
        <p:spPr>
          <a:xfrm>
            <a:off x="5910358" y="1144238"/>
            <a:ext cx="50877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mium Din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57AB7E-72EE-806C-00A5-6162005AD27E}"/>
              </a:ext>
            </a:extLst>
          </p:cNvPr>
          <p:cNvSpPr txBox="1"/>
          <p:nvPr/>
        </p:nvSpPr>
        <p:spPr>
          <a:xfrm>
            <a:off x="571170" y="3984588"/>
            <a:ext cx="60533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tel / Rooftop Bars</a:t>
            </a:r>
            <a:endParaRPr lang="en-US" b="1" kern="100">
              <a:solidFill>
                <a:srgbClr val="000032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364" name="Picture 4" descr="Image result for Edge NYC Champagne Bar">
            <a:extLst>
              <a:ext uri="{FF2B5EF4-FFF2-40B4-BE49-F238E27FC236}">
                <a16:creationId xmlns:a16="http://schemas.microsoft.com/office/drawing/2014/main" id="{C5D0F83D-422C-6EAF-8E26-6AC8B1D538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37"/>
          <a:stretch/>
        </p:blipFill>
        <p:spPr bwMode="auto">
          <a:xfrm>
            <a:off x="1618681" y="4428811"/>
            <a:ext cx="4137059" cy="231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10 hot and new brunch menus in Houston">
            <a:extLst>
              <a:ext uri="{FF2B5EF4-FFF2-40B4-BE49-F238E27FC236}">
                <a16:creationId xmlns:a16="http://schemas.microsoft.com/office/drawing/2014/main" id="{CC8D1CAA-B5B3-2032-873F-0C0F9050DB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4"/>
          <a:stretch/>
        </p:blipFill>
        <p:spPr bwMode="auto">
          <a:xfrm>
            <a:off x="6516208" y="4400087"/>
            <a:ext cx="3990611" cy="2374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0" name="Picture 10" descr="New York Craft Cocktail Tour - Nightlife Tour Package">
            <a:extLst>
              <a:ext uri="{FF2B5EF4-FFF2-40B4-BE49-F238E27FC236}">
                <a16:creationId xmlns:a16="http://schemas.microsoft.com/office/drawing/2014/main" id="{E0A7BE73-B1ED-8360-4176-859B8D9C4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328" y="1588461"/>
            <a:ext cx="3990611" cy="227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0770359-5204-FBB4-F384-EB419DCE3BE5}"/>
              </a:ext>
            </a:extLst>
          </p:cNvPr>
          <p:cNvSpPr txBox="1"/>
          <p:nvPr/>
        </p:nvSpPr>
        <p:spPr>
          <a:xfrm>
            <a:off x="55945" y="1922994"/>
            <a:ext cx="142554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1600" b="1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allini Spritz</a:t>
            </a:r>
            <a:r>
              <a:rPr lang="en-US" sz="1600" b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</a:p>
          <a:p>
            <a:pPr algn="ctr" defTabSz="457177">
              <a:defRPr/>
            </a:pPr>
            <a:endParaRPr lang="en-US" sz="16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>
              <a:defRPr/>
            </a:pPr>
            <a:r>
              <a:rPr lang="en-US" sz="1600" err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Raspicello</a:t>
            </a:r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Martini </a:t>
            </a:r>
            <a:endParaRPr lang="en-US" sz="1600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971C9F-C8B3-4BA8-80D0-D41FB61EB8A0}"/>
              </a:ext>
            </a:extLst>
          </p:cNvPr>
          <p:cNvSpPr txBox="1"/>
          <p:nvPr/>
        </p:nvSpPr>
        <p:spPr>
          <a:xfrm>
            <a:off x="10626293" y="2041141"/>
            <a:ext cx="125647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1600" kern="100" err="1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eachello</a:t>
            </a:r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Old Fashioned</a:t>
            </a:r>
          </a:p>
          <a:p>
            <a:pPr algn="ctr" defTabSz="457177">
              <a:defRPr/>
            </a:pPr>
            <a:endParaRPr lang="en-US" sz="1600" kern="100">
              <a:solidFill>
                <a:srgbClr val="000032"/>
              </a:solidFill>
              <a:latin typeface="Calibri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>
              <a:defRPr/>
            </a:pPr>
            <a:r>
              <a:rPr lang="en-US" sz="1600" err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Limonzero</a:t>
            </a:r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Sour</a:t>
            </a:r>
            <a:endParaRPr lang="en-US" sz="1600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8C6B494-3752-C8C0-22FA-D0BD51EDEE81}"/>
              </a:ext>
            </a:extLst>
          </p:cNvPr>
          <p:cNvSpPr txBox="1"/>
          <p:nvPr/>
        </p:nvSpPr>
        <p:spPr>
          <a:xfrm>
            <a:off x="251083" y="4925797"/>
            <a:ext cx="122521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allini Bellini</a:t>
            </a:r>
          </a:p>
          <a:p>
            <a:pPr algn="ctr" defTabSz="457177">
              <a:defRPr/>
            </a:pPr>
            <a:endParaRPr lang="en-US" sz="1600" kern="1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>
              <a:defRPr/>
            </a:pPr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allini Spritz</a:t>
            </a:r>
            <a:endParaRPr lang="en-US" sz="1600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793417F-3457-2707-8E7D-9EC9F6D11BEA}"/>
              </a:ext>
            </a:extLst>
          </p:cNvPr>
          <p:cNvSpPr txBox="1"/>
          <p:nvPr/>
        </p:nvSpPr>
        <p:spPr>
          <a:xfrm>
            <a:off x="10781193" y="4827603"/>
            <a:ext cx="109843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sz="1600" kern="100" err="1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Limonzero</a:t>
            </a:r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Spritz</a:t>
            </a:r>
          </a:p>
          <a:p>
            <a:pPr algn="ctr" defTabSz="457177">
              <a:defRPr/>
            </a:pPr>
            <a:endParaRPr lang="en-US" sz="1600" kern="1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>
              <a:defRPr/>
            </a:pPr>
            <a:r>
              <a:rPr lang="en-US" sz="1600" err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eachello</a:t>
            </a:r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Bellini</a:t>
            </a:r>
            <a:endParaRPr lang="en-US" sz="1600">
              <a:solidFill>
                <a:srgbClr val="000032"/>
              </a:solidFill>
              <a:latin typeface="Calibri"/>
            </a:endParaRPr>
          </a:p>
        </p:txBody>
      </p:sp>
      <p:pic>
        <p:nvPicPr>
          <p:cNvPr id="4" name="Picture 3" descr="A green sign with white letters&#10;&#10;Description automatically generated">
            <a:extLst>
              <a:ext uri="{FF2B5EF4-FFF2-40B4-BE49-F238E27FC236}">
                <a16:creationId xmlns:a16="http://schemas.microsoft.com/office/drawing/2014/main" id="{80A989B6-B892-1CE7-CD2A-67CD218914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62538" y="218831"/>
            <a:ext cx="1777884" cy="469870"/>
          </a:xfrm>
          <a:prstGeom prst="rect">
            <a:avLst/>
          </a:prstGeom>
        </p:spPr>
      </p:pic>
      <p:pic>
        <p:nvPicPr>
          <p:cNvPr id="6" name="Picture 4" descr="20 incredible restaurants to eat at in Italy - Business Insider">
            <a:extLst>
              <a:ext uri="{FF2B5EF4-FFF2-40B4-BE49-F238E27FC236}">
                <a16:creationId xmlns:a16="http://schemas.microsoft.com/office/drawing/2014/main" id="{433637F1-8FD7-87FF-0A53-CE45FE2C48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681" y="1548993"/>
            <a:ext cx="4132993" cy="2374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D402455-EC40-E685-5C56-EA247AC66620}"/>
              </a:ext>
            </a:extLst>
          </p:cNvPr>
          <p:cNvSpPr txBox="1"/>
          <p:nvPr/>
        </p:nvSpPr>
        <p:spPr>
          <a:xfrm>
            <a:off x="3460136" y="703870"/>
            <a:ext cx="60944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200">
                <a:solidFill>
                  <a:srgbClr val="5A5A5A"/>
                </a:solidFill>
                <a:latin typeface="Calibri"/>
              </a:rPr>
              <a:t>AND SUGGESTED COCKTAIL VARIATIONS</a:t>
            </a:r>
          </a:p>
        </p:txBody>
      </p:sp>
    </p:spTree>
    <p:extLst>
      <p:ext uri="{BB962C8B-B14F-4D97-AF65-F5344CB8AC3E}">
        <p14:creationId xmlns:p14="http://schemas.microsoft.com/office/powerpoint/2010/main" val="307505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7" grpId="0"/>
      <p:bldP spid="20" grpId="0"/>
      <p:bldP spid="22" grpId="0"/>
      <p:bldP spid="2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allini Theme PowerPoint">
  <a:themeElements>
    <a:clrScheme name="title green">
      <a:dk1>
        <a:srgbClr val="5A5A5A"/>
      </a:dk1>
      <a:lt1>
        <a:srgbClr val="FFFFFF"/>
      </a:lt1>
      <a:dk2>
        <a:srgbClr val="A7A7A7"/>
      </a:dk2>
      <a:lt2>
        <a:srgbClr val="535353"/>
      </a:lt2>
      <a:accent1>
        <a:srgbClr val="00CC99"/>
      </a:accent1>
      <a:accent2>
        <a:srgbClr val="3333CC"/>
      </a:accent2>
      <a:accent3>
        <a:srgbClr val="8F8F8F"/>
      </a:accent3>
      <a:accent4>
        <a:srgbClr val="707070"/>
      </a:accent4>
      <a:accent5>
        <a:srgbClr val="AAE2CA"/>
      </a:accent5>
      <a:accent6>
        <a:srgbClr val="2D2DB9"/>
      </a:accent6>
      <a:hlink>
        <a:srgbClr val="0000FF"/>
      </a:hlink>
      <a:folHlink>
        <a:srgbClr val="FF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llini Theme PowerPoin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65023" tIns="65023" rIns="65023" bIns="65023" numCol="1" spcCol="38100" rtlCol="0" anchor="ctr">
        <a:spAutoFit/>
      </a:bodyPr>
      <a:lstStyle>
        <a:defPPr marL="0" marR="0" indent="0" algn="l" defTabSz="130048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50800" dist="254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65023" tIns="65023" rIns="65023" bIns="65023" numCol="1" spcCol="38100" rtlCol="0" anchor="t">
        <a:spAutoFit/>
      </a:bodyPr>
      <a:lstStyle>
        <a:defPPr marL="0" marR="0" indent="0" algn="l" defTabSz="130048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chemeClr val="accent4">
                <a:lumOff val="-8800"/>
              </a:schemeClr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Yu Gothic UI</vt:lpstr>
      <vt:lpstr>Adobe Caslon Pro Bold</vt:lpstr>
      <vt:lpstr>Aptos</vt:lpstr>
      <vt:lpstr>Arial</vt:lpstr>
      <vt:lpstr>Calibri</vt:lpstr>
      <vt:lpstr>Calibri Light</vt:lpstr>
      <vt:lpstr>HelveticaNeueLT Pro 63 MdEx</vt:lpstr>
      <vt:lpstr>Ivar-Display-Condensed-Light</vt:lpstr>
      <vt:lpstr>1_Pallini Theme PowerPoint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1</cp:revision>
  <dcterms:created xsi:type="dcterms:W3CDTF">2025-08-27T17:29:58Z</dcterms:created>
  <dcterms:modified xsi:type="dcterms:W3CDTF">2025-08-27T17:30:18Z</dcterms:modified>
</cp:coreProperties>
</file>